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A83C27-289F-4DB2-AFB4-96ADA0527131}" v="54" dt="2023-03-08T01:04:48.97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49A83C27-289F-4DB2-AFB4-96ADA0527131}"/>
    <pc:docChg chg="addSld delSld modSld">
      <pc:chgData name="Roberto Gallardo" userId="49a044883f185952" providerId="LiveId" clId="{49A83C27-289F-4DB2-AFB4-96ADA0527131}" dt="2023-03-08T01:04:57.200" v="202" actId="1036"/>
      <pc:docMkLst>
        <pc:docMk/>
      </pc:docMkLst>
      <pc:sldChg chg="del">
        <pc:chgData name="Roberto Gallardo" userId="49a044883f185952" providerId="LiveId" clId="{49A83C27-289F-4DB2-AFB4-96ADA0527131}" dt="2023-02-25T15:15:12.930" v="11" actId="47"/>
        <pc:sldMkLst>
          <pc:docMk/>
          <pc:sldMk cId="1175010214" sldId="261"/>
        </pc:sldMkLst>
      </pc:sldChg>
      <pc:sldChg chg="addSp modSp mod">
        <pc:chgData name="Roberto Gallardo" userId="49a044883f185952" providerId="LiveId" clId="{49A83C27-289F-4DB2-AFB4-96ADA0527131}" dt="2023-03-08T00:59:56.635" v="20" actId="1076"/>
        <pc:sldMkLst>
          <pc:docMk/>
          <pc:sldMk cId="1418533539" sldId="271"/>
        </pc:sldMkLst>
        <pc:picChg chg="add mod">
          <ac:chgData name="Roberto Gallardo" userId="49a044883f185952" providerId="LiveId" clId="{49A83C27-289F-4DB2-AFB4-96ADA0527131}" dt="2023-03-08T00:59:56.635" v="20" actId="1076"/>
          <ac:picMkLst>
            <pc:docMk/>
            <pc:sldMk cId="1418533539" sldId="271"/>
            <ac:picMk id="6" creationId="{F2787B36-51EB-9966-5EA6-8AFDA386F12A}"/>
          </ac:picMkLst>
        </pc:picChg>
      </pc:sldChg>
      <pc:sldChg chg="addSp modSp mod">
        <pc:chgData name="Roberto Gallardo" userId="49a044883f185952" providerId="LiveId" clId="{49A83C27-289F-4DB2-AFB4-96ADA0527131}" dt="2023-03-08T01:01:42.344" v="76" actId="1076"/>
        <pc:sldMkLst>
          <pc:docMk/>
          <pc:sldMk cId="2124848710" sldId="281"/>
        </pc:sldMkLst>
        <pc:picChg chg="add mod">
          <ac:chgData name="Roberto Gallardo" userId="49a044883f185952" providerId="LiveId" clId="{49A83C27-289F-4DB2-AFB4-96ADA0527131}" dt="2023-03-08T01:01:42.344" v="76" actId="1076"/>
          <ac:picMkLst>
            <pc:docMk/>
            <pc:sldMk cId="2124848710" sldId="281"/>
            <ac:picMk id="6" creationId="{AE9FC38B-1475-159D-B465-57A409D15503}"/>
          </ac:picMkLst>
        </pc:picChg>
      </pc:sldChg>
      <pc:sldChg chg="addSp modSp mod">
        <pc:chgData name="Roberto Gallardo" userId="49a044883f185952" providerId="LiveId" clId="{49A83C27-289F-4DB2-AFB4-96ADA0527131}" dt="2023-03-08T01:01:58.903" v="86" actId="1076"/>
        <pc:sldMkLst>
          <pc:docMk/>
          <pc:sldMk cId="2028175529" sldId="282"/>
        </pc:sldMkLst>
        <pc:picChg chg="add mod">
          <ac:chgData name="Roberto Gallardo" userId="49a044883f185952" providerId="LiveId" clId="{49A83C27-289F-4DB2-AFB4-96ADA0527131}" dt="2023-03-08T01:01:58.903" v="86" actId="1076"/>
          <ac:picMkLst>
            <pc:docMk/>
            <pc:sldMk cId="2028175529" sldId="282"/>
            <ac:picMk id="7" creationId="{E6CB3EAF-85E2-750F-B70F-0E385F5CBB29}"/>
          </ac:picMkLst>
        </pc:picChg>
      </pc:sldChg>
      <pc:sldChg chg="addSp modSp mod">
        <pc:chgData name="Roberto Gallardo" userId="49a044883f185952" providerId="LiveId" clId="{49A83C27-289F-4DB2-AFB4-96ADA0527131}" dt="2023-03-08T01:02:17.663" v="99" actId="1076"/>
        <pc:sldMkLst>
          <pc:docMk/>
          <pc:sldMk cId="1326517747" sldId="283"/>
        </pc:sldMkLst>
        <pc:picChg chg="add mod">
          <ac:chgData name="Roberto Gallardo" userId="49a044883f185952" providerId="LiveId" clId="{49A83C27-289F-4DB2-AFB4-96ADA0527131}" dt="2023-03-08T01:02:17.663" v="99" actId="1076"/>
          <ac:picMkLst>
            <pc:docMk/>
            <pc:sldMk cId="1326517747" sldId="283"/>
            <ac:picMk id="7" creationId="{552BC27A-8349-9EF7-F40D-AFF05C9DD1B0}"/>
          </ac:picMkLst>
        </pc:picChg>
      </pc:sldChg>
      <pc:sldChg chg="addSp modSp mod">
        <pc:chgData name="Roberto Gallardo" userId="49a044883f185952" providerId="LiveId" clId="{49A83C27-289F-4DB2-AFB4-96ADA0527131}" dt="2023-03-08T01:02:34.974" v="109" actId="1076"/>
        <pc:sldMkLst>
          <pc:docMk/>
          <pc:sldMk cId="783739251" sldId="284"/>
        </pc:sldMkLst>
        <pc:picChg chg="add mod">
          <ac:chgData name="Roberto Gallardo" userId="49a044883f185952" providerId="LiveId" clId="{49A83C27-289F-4DB2-AFB4-96ADA0527131}" dt="2023-03-08T01:02:34.974" v="109" actId="1076"/>
          <ac:picMkLst>
            <pc:docMk/>
            <pc:sldMk cId="783739251" sldId="284"/>
            <ac:picMk id="7" creationId="{D612BBA1-6D82-8AFE-1F83-7EC46E7EE855}"/>
          </ac:picMkLst>
        </pc:picChg>
      </pc:sldChg>
      <pc:sldChg chg="addSp modSp mod">
        <pc:chgData name="Roberto Gallardo" userId="49a044883f185952" providerId="LiveId" clId="{49A83C27-289F-4DB2-AFB4-96ADA0527131}" dt="2023-03-08T01:02:53.426" v="121" actId="1076"/>
        <pc:sldMkLst>
          <pc:docMk/>
          <pc:sldMk cId="1676122233" sldId="285"/>
        </pc:sldMkLst>
        <pc:picChg chg="add mod">
          <ac:chgData name="Roberto Gallardo" userId="49a044883f185952" providerId="LiveId" clId="{49A83C27-289F-4DB2-AFB4-96ADA0527131}" dt="2023-03-08T01:02:53.426" v="121" actId="1076"/>
          <ac:picMkLst>
            <pc:docMk/>
            <pc:sldMk cId="1676122233" sldId="285"/>
            <ac:picMk id="7" creationId="{44ADE79F-9F0B-F1CD-D613-CC563EB71050}"/>
          </ac:picMkLst>
        </pc:picChg>
      </pc:sldChg>
      <pc:sldChg chg="addSp modSp mod">
        <pc:chgData name="Roberto Gallardo" userId="49a044883f185952" providerId="LiveId" clId="{49A83C27-289F-4DB2-AFB4-96ADA0527131}" dt="2023-03-08T01:03:08.355" v="131" actId="1076"/>
        <pc:sldMkLst>
          <pc:docMk/>
          <pc:sldMk cId="3100398757" sldId="286"/>
        </pc:sldMkLst>
        <pc:picChg chg="add mod">
          <ac:chgData name="Roberto Gallardo" userId="49a044883f185952" providerId="LiveId" clId="{49A83C27-289F-4DB2-AFB4-96ADA0527131}" dt="2023-03-08T01:03:08.355" v="131" actId="1076"/>
          <ac:picMkLst>
            <pc:docMk/>
            <pc:sldMk cId="3100398757" sldId="286"/>
            <ac:picMk id="7" creationId="{2D133DDF-DDE1-39BE-B006-9E908781EB68}"/>
          </ac:picMkLst>
        </pc:picChg>
      </pc:sldChg>
      <pc:sldChg chg="addSp modSp mod">
        <pc:chgData name="Roberto Gallardo" userId="49a044883f185952" providerId="LiveId" clId="{49A83C27-289F-4DB2-AFB4-96ADA0527131}" dt="2023-03-08T01:03:24.666" v="142" actId="1076"/>
        <pc:sldMkLst>
          <pc:docMk/>
          <pc:sldMk cId="1546475425" sldId="287"/>
        </pc:sldMkLst>
        <pc:picChg chg="add mod">
          <ac:chgData name="Roberto Gallardo" userId="49a044883f185952" providerId="LiveId" clId="{49A83C27-289F-4DB2-AFB4-96ADA0527131}" dt="2023-03-08T01:03:24.666" v="142" actId="1076"/>
          <ac:picMkLst>
            <pc:docMk/>
            <pc:sldMk cId="1546475425" sldId="287"/>
            <ac:picMk id="7" creationId="{273E0512-6EE2-B2F5-3B4D-79F04207F742}"/>
          </ac:picMkLst>
        </pc:picChg>
      </pc:sldChg>
      <pc:sldChg chg="addSp modSp mod">
        <pc:chgData name="Roberto Gallardo" userId="49a044883f185952" providerId="LiveId" clId="{49A83C27-289F-4DB2-AFB4-96ADA0527131}" dt="2023-03-08T01:03:55.107" v="161" actId="1076"/>
        <pc:sldMkLst>
          <pc:docMk/>
          <pc:sldMk cId="1380517306" sldId="288"/>
        </pc:sldMkLst>
        <pc:picChg chg="add mod">
          <ac:chgData name="Roberto Gallardo" userId="49a044883f185952" providerId="LiveId" clId="{49A83C27-289F-4DB2-AFB4-96ADA0527131}" dt="2023-03-08T01:03:55.107" v="161" actId="1076"/>
          <ac:picMkLst>
            <pc:docMk/>
            <pc:sldMk cId="1380517306" sldId="288"/>
            <ac:picMk id="7" creationId="{4464FB1A-FE9D-1DDC-279F-DB86C3F6E800}"/>
          </ac:picMkLst>
        </pc:picChg>
      </pc:sldChg>
      <pc:sldChg chg="addSp modSp mod">
        <pc:chgData name="Roberto Gallardo" userId="49a044883f185952" providerId="LiveId" clId="{49A83C27-289F-4DB2-AFB4-96ADA0527131}" dt="2023-03-08T01:04:11.122" v="171" actId="1076"/>
        <pc:sldMkLst>
          <pc:docMk/>
          <pc:sldMk cId="1388671151" sldId="289"/>
        </pc:sldMkLst>
        <pc:picChg chg="add mod">
          <ac:chgData name="Roberto Gallardo" userId="49a044883f185952" providerId="LiveId" clId="{49A83C27-289F-4DB2-AFB4-96ADA0527131}" dt="2023-03-08T01:04:11.122" v="171" actId="1076"/>
          <ac:picMkLst>
            <pc:docMk/>
            <pc:sldMk cId="1388671151" sldId="289"/>
            <ac:picMk id="7" creationId="{8951BAB5-2CAC-7EA7-1382-209E842ADE4D}"/>
          </ac:picMkLst>
        </pc:picChg>
      </pc:sldChg>
      <pc:sldChg chg="addSp modSp mod">
        <pc:chgData name="Roberto Gallardo" userId="49a044883f185952" providerId="LiveId" clId="{49A83C27-289F-4DB2-AFB4-96ADA0527131}" dt="2023-03-08T01:04:42.896" v="191" actId="14100"/>
        <pc:sldMkLst>
          <pc:docMk/>
          <pc:sldMk cId="2355376039" sldId="290"/>
        </pc:sldMkLst>
        <pc:picChg chg="add mod">
          <ac:chgData name="Roberto Gallardo" userId="49a044883f185952" providerId="LiveId" clId="{49A83C27-289F-4DB2-AFB4-96ADA0527131}" dt="2023-03-08T01:04:42.896" v="191" actId="14100"/>
          <ac:picMkLst>
            <pc:docMk/>
            <pc:sldMk cId="2355376039" sldId="290"/>
            <ac:picMk id="8" creationId="{07CFC478-A462-E942-5FFA-46B865C51B94}"/>
          </ac:picMkLst>
        </pc:picChg>
      </pc:sldChg>
      <pc:sldChg chg="addSp modSp mod">
        <pc:chgData name="Roberto Gallardo" userId="49a044883f185952" providerId="LiveId" clId="{49A83C27-289F-4DB2-AFB4-96ADA0527131}" dt="2023-03-08T01:04:57.200" v="202" actId="1036"/>
        <pc:sldMkLst>
          <pc:docMk/>
          <pc:sldMk cId="3757257295" sldId="291"/>
        </pc:sldMkLst>
        <pc:picChg chg="add mod">
          <ac:chgData name="Roberto Gallardo" userId="49a044883f185952" providerId="LiveId" clId="{49A83C27-289F-4DB2-AFB4-96ADA0527131}" dt="2023-03-08T01:04:57.200" v="202" actId="1036"/>
          <ac:picMkLst>
            <pc:docMk/>
            <pc:sldMk cId="3757257295" sldId="291"/>
            <ac:picMk id="8" creationId="{271CE5E7-7463-61B4-137C-8260A76975E2}"/>
          </ac:picMkLst>
        </pc:picChg>
      </pc:sldChg>
      <pc:sldChg chg="addSp modSp mod">
        <pc:chgData name="Roberto Gallardo" userId="49a044883f185952" providerId="LiveId" clId="{49A83C27-289F-4DB2-AFB4-96ADA0527131}" dt="2023-03-08T01:03:38.107" v="151" actId="1076"/>
        <pc:sldMkLst>
          <pc:docMk/>
          <pc:sldMk cId="1259856727" sldId="292"/>
        </pc:sldMkLst>
        <pc:picChg chg="add mod">
          <ac:chgData name="Roberto Gallardo" userId="49a044883f185952" providerId="LiveId" clId="{49A83C27-289F-4DB2-AFB4-96ADA0527131}" dt="2023-03-08T01:03:38.107" v="151" actId="1076"/>
          <ac:picMkLst>
            <pc:docMk/>
            <pc:sldMk cId="1259856727" sldId="292"/>
            <ac:picMk id="7" creationId="{19FCE8DA-B18C-669E-2187-F7119B19A1B0}"/>
          </ac:picMkLst>
        </pc:picChg>
      </pc:sldChg>
      <pc:sldChg chg="addSp modSp mod">
        <pc:chgData name="Roberto Gallardo" userId="49a044883f185952" providerId="LiveId" clId="{49A83C27-289F-4DB2-AFB4-96ADA0527131}" dt="2023-03-08T01:01:25.543" v="66" actId="1076"/>
        <pc:sldMkLst>
          <pc:docMk/>
          <pc:sldMk cId="3324519687" sldId="293"/>
        </pc:sldMkLst>
        <pc:picChg chg="add mod">
          <ac:chgData name="Roberto Gallardo" userId="49a044883f185952" providerId="LiveId" clId="{49A83C27-289F-4DB2-AFB4-96ADA0527131}" dt="2023-03-08T01:01:25.543" v="66" actId="1076"/>
          <ac:picMkLst>
            <pc:docMk/>
            <pc:sldMk cId="3324519687" sldId="293"/>
            <ac:picMk id="7" creationId="{30135FD0-16EF-071D-0DA4-5CE58DE0404E}"/>
          </ac:picMkLst>
        </pc:picChg>
      </pc:sldChg>
      <pc:sldChg chg="addSp modSp mod">
        <pc:chgData name="Roberto Gallardo" userId="49a044883f185952" providerId="LiveId" clId="{49A83C27-289F-4DB2-AFB4-96ADA0527131}" dt="2023-03-08T01:00:46.386" v="43" actId="1076"/>
        <pc:sldMkLst>
          <pc:docMk/>
          <pc:sldMk cId="3256182630" sldId="295"/>
        </pc:sldMkLst>
        <pc:picChg chg="add mod">
          <ac:chgData name="Roberto Gallardo" userId="49a044883f185952" providerId="LiveId" clId="{49A83C27-289F-4DB2-AFB4-96ADA0527131}" dt="2023-03-08T01:00:46.386" v="43" actId="1076"/>
          <ac:picMkLst>
            <pc:docMk/>
            <pc:sldMk cId="3256182630" sldId="295"/>
            <ac:picMk id="7" creationId="{227D6619-4649-4B47-506C-8B29B4E143F1}"/>
          </ac:picMkLst>
        </pc:picChg>
      </pc:sldChg>
      <pc:sldChg chg="addSp modSp mod">
        <pc:chgData name="Roberto Gallardo" userId="49a044883f185952" providerId="LiveId" clId="{49A83C27-289F-4DB2-AFB4-96ADA0527131}" dt="2023-03-08T01:01:09.563" v="57" actId="1076"/>
        <pc:sldMkLst>
          <pc:docMk/>
          <pc:sldMk cId="4057156843" sldId="296"/>
        </pc:sldMkLst>
        <pc:picChg chg="add mod">
          <ac:chgData name="Roberto Gallardo" userId="49a044883f185952" providerId="LiveId" clId="{49A83C27-289F-4DB2-AFB4-96ADA0527131}" dt="2023-03-08T01:01:09.563" v="57" actId="1076"/>
          <ac:picMkLst>
            <pc:docMk/>
            <pc:sldMk cId="4057156843" sldId="296"/>
            <ac:picMk id="7" creationId="{0A2F2586-7148-9C20-301C-469CFACD9E2E}"/>
          </ac:picMkLst>
        </pc:picChg>
      </pc:sldChg>
      <pc:sldChg chg="addSp modSp mod">
        <pc:chgData name="Roberto Gallardo" userId="49a044883f185952" providerId="LiveId" clId="{49A83C27-289F-4DB2-AFB4-96ADA0527131}" dt="2023-03-08T01:00:31.171" v="35" actId="1076"/>
        <pc:sldMkLst>
          <pc:docMk/>
          <pc:sldMk cId="2080110827" sldId="297"/>
        </pc:sldMkLst>
        <pc:picChg chg="add mod">
          <ac:chgData name="Roberto Gallardo" userId="49a044883f185952" providerId="LiveId" clId="{49A83C27-289F-4DB2-AFB4-96ADA0527131}" dt="2023-03-08T01:00:31.171" v="35" actId="1076"/>
          <ac:picMkLst>
            <pc:docMk/>
            <pc:sldMk cId="2080110827" sldId="297"/>
            <ac:picMk id="6" creationId="{AB0BE64D-1095-CAC0-122D-4093D75EE43F}"/>
          </ac:picMkLst>
        </pc:picChg>
      </pc:sldChg>
      <pc:sldChg chg="addSp modSp mod">
        <pc:chgData name="Roberto Gallardo" userId="49a044883f185952" providerId="LiveId" clId="{49A83C27-289F-4DB2-AFB4-96ADA0527131}" dt="2023-03-08T01:00:14.252" v="27" actId="1076"/>
        <pc:sldMkLst>
          <pc:docMk/>
          <pc:sldMk cId="1532666867" sldId="298"/>
        </pc:sldMkLst>
        <pc:picChg chg="add mod">
          <ac:chgData name="Roberto Gallardo" userId="49a044883f185952" providerId="LiveId" clId="{49A83C27-289F-4DB2-AFB4-96ADA0527131}" dt="2023-03-08T01:00:14.252" v="27" actId="1076"/>
          <ac:picMkLst>
            <pc:docMk/>
            <pc:sldMk cId="1532666867" sldId="298"/>
            <ac:picMk id="6" creationId="{E542F77B-2511-A837-31C0-FFBE220DF4EC}"/>
          </ac:picMkLst>
        </pc:picChg>
      </pc:sldChg>
      <pc:sldChg chg="addSp modSp mod">
        <pc:chgData name="Roberto Gallardo" userId="49a044883f185952" providerId="LiveId" clId="{49A83C27-289F-4DB2-AFB4-96ADA0527131}" dt="2023-03-08T01:04:24.263" v="180" actId="1076"/>
        <pc:sldMkLst>
          <pc:docMk/>
          <pc:sldMk cId="1951376777" sldId="299"/>
        </pc:sldMkLst>
        <pc:picChg chg="add mod">
          <ac:chgData name="Roberto Gallardo" userId="49a044883f185952" providerId="LiveId" clId="{49A83C27-289F-4DB2-AFB4-96ADA0527131}" dt="2023-03-08T01:04:24.263" v="180" actId="1076"/>
          <ac:picMkLst>
            <pc:docMk/>
            <pc:sldMk cId="1951376777" sldId="299"/>
            <ac:picMk id="7" creationId="{5CD27A3F-F4B4-C345-1AA2-137F55339C24}"/>
          </ac:picMkLst>
        </pc:picChg>
      </pc:sldChg>
      <pc:sldChg chg="modSp mod">
        <pc:chgData name="Roberto Gallardo" userId="49a044883f185952" providerId="LiveId" clId="{49A83C27-289F-4DB2-AFB4-96ADA0527131}" dt="2023-02-25T13:36:37.189" v="9" actId="20577"/>
        <pc:sldMkLst>
          <pc:docMk/>
          <pc:sldMk cId="1515423683" sldId="302"/>
        </pc:sldMkLst>
        <pc:spChg chg="mod">
          <ac:chgData name="Roberto Gallardo" userId="49a044883f185952" providerId="LiveId" clId="{49A83C27-289F-4DB2-AFB4-96ADA0527131}" dt="2023-02-25T13:36:37.189" v="9" actId="20577"/>
          <ac:spMkLst>
            <pc:docMk/>
            <pc:sldMk cId="1515423683" sldId="302"/>
            <ac:spMk id="5" creationId="{6AE302AC-8931-4144-BE52-DD1A8BA82462}"/>
          </ac:spMkLst>
        </pc:spChg>
        <pc:spChg chg="mod">
          <ac:chgData name="Roberto Gallardo" userId="49a044883f185952" providerId="LiveId" clId="{49A83C27-289F-4DB2-AFB4-96ADA0527131}" dt="2023-02-25T13:36:34.143" v="8" actId="20577"/>
          <ac:spMkLst>
            <pc:docMk/>
            <pc:sldMk cId="1515423683" sldId="302"/>
            <ac:spMk id="9" creationId="{E362A98F-7DCD-C67C-23CE-1BE182A133B4}"/>
          </ac:spMkLst>
        </pc:spChg>
      </pc:sldChg>
      <pc:sldChg chg="del">
        <pc:chgData name="Roberto Gallardo" userId="49a044883f185952" providerId="LiveId" clId="{49A83C27-289F-4DB2-AFB4-96ADA0527131}" dt="2023-02-25T15:15:12.930" v="11" actId="47"/>
        <pc:sldMkLst>
          <pc:docMk/>
          <pc:sldMk cId="2841628872" sldId="303"/>
        </pc:sldMkLst>
      </pc:sldChg>
      <pc:sldChg chg="del">
        <pc:chgData name="Roberto Gallardo" userId="49a044883f185952" providerId="LiveId" clId="{49A83C27-289F-4DB2-AFB4-96ADA0527131}" dt="2023-02-25T15:15:12.930" v="11" actId="47"/>
        <pc:sldMkLst>
          <pc:docMk/>
          <pc:sldMk cId="3084076302" sldId="304"/>
        </pc:sldMkLst>
      </pc:sldChg>
      <pc:sldChg chg="del">
        <pc:chgData name="Roberto Gallardo" userId="49a044883f185952" providerId="LiveId" clId="{49A83C27-289F-4DB2-AFB4-96ADA0527131}" dt="2023-02-25T15:15:12.930" v="11" actId="47"/>
        <pc:sldMkLst>
          <pc:docMk/>
          <pc:sldMk cId="473712435" sldId="305"/>
        </pc:sldMkLst>
      </pc:sldChg>
      <pc:sldChg chg="modSp mod">
        <pc:chgData name="Roberto Gallardo" userId="49a044883f185952" providerId="LiveId" clId="{49A83C27-289F-4DB2-AFB4-96ADA0527131}" dt="2023-02-25T12:54:09.182" v="6" actId="1035"/>
        <pc:sldMkLst>
          <pc:docMk/>
          <pc:sldMk cId="2366022307" sldId="306"/>
        </pc:sldMkLst>
        <pc:spChg chg="mod">
          <ac:chgData name="Roberto Gallardo" userId="49a044883f185952" providerId="LiveId" clId="{49A83C27-289F-4DB2-AFB4-96ADA0527131}" dt="2023-02-25T12:54:05.988" v="1" actId="20577"/>
          <ac:spMkLst>
            <pc:docMk/>
            <pc:sldMk cId="2366022307" sldId="306"/>
            <ac:spMk id="11" creationId="{09F5AE19-B4E3-7788-F25F-CDA80D596DAF}"/>
          </ac:spMkLst>
        </pc:spChg>
        <pc:grpChg chg="mod">
          <ac:chgData name="Roberto Gallardo" userId="49a044883f185952" providerId="LiveId" clId="{49A83C27-289F-4DB2-AFB4-96ADA0527131}" dt="2023-02-25T12:54:09.182" v="6" actId="1035"/>
          <ac:grpSpMkLst>
            <pc:docMk/>
            <pc:sldMk cId="2366022307" sldId="306"/>
            <ac:grpSpMk id="6" creationId="{4BC0EAD3-A621-359E-F822-1BC272A15D80}"/>
          </ac:grpSpMkLst>
        </pc:grpChg>
      </pc:sldChg>
      <pc:sldChg chg="add">
        <pc:chgData name="Roberto Gallardo" userId="49a044883f185952" providerId="LiveId" clId="{49A83C27-289F-4DB2-AFB4-96ADA0527131}" dt="2023-02-25T15:15:09.899" v="10"/>
        <pc:sldMkLst>
          <pc:docMk/>
          <pc:sldMk cId="3629883059" sldId="307"/>
        </pc:sldMkLst>
      </pc:sldChg>
      <pc:sldChg chg="add">
        <pc:chgData name="Roberto Gallardo" userId="49a044883f185952" providerId="LiveId" clId="{49A83C27-289F-4DB2-AFB4-96ADA0527131}" dt="2023-02-25T15:15:09.899" v="10"/>
        <pc:sldMkLst>
          <pc:docMk/>
          <pc:sldMk cId="1424755317" sldId="308"/>
        </pc:sldMkLst>
      </pc:sldChg>
      <pc:sldChg chg="add">
        <pc:chgData name="Roberto Gallardo" userId="49a044883f185952" providerId="LiveId" clId="{49A83C27-289F-4DB2-AFB4-96ADA0527131}" dt="2023-02-25T15:15:09.899" v="10"/>
        <pc:sldMkLst>
          <pc:docMk/>
          <pc:sldMk cId="338920462" sldId="309"/>
        </pc:sldMkLst>
      </pc:sldChg>
      <pc:sldChg chg="add">
        <pc:chgData name="Roberto Gallardo" userId="49a044883f185952" providerId="LiveId" clId="{49A83C27-289F-4DB2-AFB4-96ADA0527131}" dt="2023-02-25T15:15:09.899" v="10"/>
        <pc:sldMkLst>
          <pc:docMk/>
          <pc:sldMk cId="46622703"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Rutherford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5960BAA-6B50-833D-614E-92A1A689493F}"/>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3389204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087F2677-9625-9748-119A-204485A3DDD5}"/>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66227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F2787B36-51EB-9966-5EA6-8AFDA386F1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4310" y="1028700"/>
            <a:ext cx="7747180"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E542F77B-2511-A837-31C0-FFBE220DF4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16326" y="1024409"/>
            <a:ext cx="7759348" cy="5380537"/>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AB0BE64D-1095-CAC0-122D-4093D75EE4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1320" y="1028700"/>
            <a:ext cx="775315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AA4BF95A-288B-30EC-A971-AA2A977953A1}"/>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227D6619-4649-4B47-506C-8B29B4E143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57895"/>
            <a:ext cx="6403975" cy="4440685"/>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1CA677D5-A984-55DA-71D2-33F8C152234D}"/>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0A2F2586-7148-9C20-301C-469CFACD9E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56307"/>
            <a:ext cx="6403975" cy="4440686"/>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508F6AF4-3E72-7BF7-16F7-2A76F5610FB4}"/>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30135FD0-16EF-071D-0DA4-5CE58DE040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57213"/>
            <a:ext cx="6400800" cy="4438484"/>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627FBC0F-5F0E-D8F8-7DE9-3E5EA2406E48}"/>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AE9FC38B-1475-159D-B465-57A409D155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373311"/>
            <a:ext cx="6641064" cy="4605089"/>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05E0EABC-49E1-293E-C36D-4BC76137D020}"/>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E6CB3EAF-85E2-750F-B70F-0E385F5CBB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7195" y="1460318"/>
            <a:ext cx="6392405" cy="4432663"/>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DBAE2338-0D02-6D8B-F1BD-D640B471F653}"/>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552BC27A-8349-9EF7-F40D-AFF05C9DD1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2825" y="1445575"/>
            <a:ext cx="6400801" cy="4438484"/>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934B406E-9740-F9A1-6BDC-3D67AF713ECC}"/>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612BBA1-6D82-8AFE-1F83-7EC46E7EE8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59861"/>
            <a:ext cx="6400800" cy="4438484"/>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F330ECE9-1C01-5D19-7FBC-08A6BC6F7B60}"/>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44ADE79F-9F0B-F1CD-D613-CC563EB710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52645"/>
            <a:ext cx="6400801" cy="4438484"/>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5E9A5E4D-DC4C-E78D-01F1-AC0F3E81B767}"/>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2D133DDF-DDE1-39BE-B006-9E908781EB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62763"/>
            <a:ext cx="6410326" cy="4445089"/>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1B2BCF30-3486-17E5-4CD4-524F92E85A85}"/>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273E0512-6EE2-B2F5-3B4D-79F04207F7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61331"/>
            <a:ext cx="6400800" cy="4438484"/>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8AAF0851-155E-5788-7BAC-113F505BE888}"/>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19FCE8DA-B18C-669E-2187-F7119B19A1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6033" y="1460158"/>
            <a:ext cx="6373567" cy="4419600"/>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7675F897-9815-5FD2-F190-219936B1921A}"/>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4464FB1A-FE9D-1DDC-279F-DB86C3F6E8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65346"/>
            <a:ext cx="6400800" cy="4438484"/>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E2F75ADE-22DD-9600-18F8-DA5C19580AC0}"/>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951BAB5-2CAC-7EA7-1382-209E842ADE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56351"/>
            <a:ext cx="6400800" cy="4438484"/>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0C4043C3-33CE-2596-AF5F-83D57284A960}"/>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5CD27A3F-F4B4-C345-1AA2-137F55339C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3117"/>
            <a:ext cx="6400800" cy="4438484"/>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4B160BA7-3311-F736-4E0B-7187A43E2EE9}"/>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07CFC478-A462-E942-5FFA-46B865C51B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69303"/>
            <a:ext cx="6400801" cy="4438483"/>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7FE6C32F-FE63-8C95-70C5-FFFD30E6E3EC}"/>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2C9C4263-1588-9C18-1F31-49DC6E41D24A}"/>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271CE5E7-7463-61B4-137C-8260A76975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58359"/>
            <a:ext cx="6400800" cy="4438484"/>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9C4E1700-50ED-32EF-DE3E-F80C72DC56B8}"/>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E701A187-0F35-7C93-6A2F-D6B3739C8C42}"/>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A0F1D31-EA4B-6785-0FCA-9AF644E36FEC}"/>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83452" y="2385068"/>
            <a:ext cx="1198148" cy="2424063"/>
            <a:chOff x="10485745" y="2457537"/>
            <a:chExt cx="1198148" cy="242406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21745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6</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45753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457537"/>
              <a:ext cx="0" cy="75992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110011"/>
              <a:ext cx="0" cy="77158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467439"/>
            <a:ext cx="1198148" cy="2314827"/>
            <a:chOff x="2775759" y="2177183"/>
            <a:chExt cx="1198148" cy="231482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610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2</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17718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177183"/>
              <a:ext cx="0" cy="7838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53553"/>
              <a:ext cx="0" cy="6384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DA48F2A5-8A36-D304-2AF0-EB980FAE2676}"/>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8BD163F2-0355-1885-39A1-32D583817D76}"/>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5C0BAB9-A0EC-EC80-0775-50F8789A41AF}"/>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89EB7B7B-0694-2EA6-9D73-7CA98ED10252}"/>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7EAFF878-204D-A233-1698-0A4C6EF14BAB}"/>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B07B9C0E-35B1-B7C3-6FD6-8B0452F12FD3}"/>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D9CA0022-6D76-4E54-0018-72FE6FEDBDFB}"/>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6298830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B6181EF9-41C7-8626-C5B6-0A356F14EED5}"/>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14247553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17</TotalTime>
  <Words>1457</Words>
  <Application>Microsoft Office PowerPoint</Application>
  <PresentationFormat>Widescreen</PresentationFormat>
  <Paragraphs>133</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95</cp:revision>
  <dcterms:created xsi:type="dcterms:W3CDTF">2022-07-04T13:32:28Z</dcterms:created>
  <dcterms:modified xsi:type="dcterms:W3CDTF">2023-03-08T01:04:58Z</dcterms:modified>
</cp:coreProperties>
</file>